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8BB56DF4-F735-496B-950F-08728B603B92}"/>
    <pc:docChg chg="delSld">
      <pc:chgData name="Meyer Raphael (PAR-ES)" userId="79615dfe-ed48-4e74-a40f-4f7b034c1c27" providerId="ADAL" clId="{8BB56DF4-F735-496B-950F-08728B603B92}" dt="2022-02-21T11:05:14.687" v="0" actId="47"/>
      <pc:docMkLst>
        <pc:docMk/>
      </pc:docMkLst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1838343115" sldId="402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3015962495" sldId="403"/>
        </pc:sldMkLst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D81561D3-5E31-4CB8-8B0F-BE1FCFC5AF04}"/>
    <pc:docChg chg="modSld">
      <pc:chgData name="Weigel Stefan (PAR-EPS)" userId="fd3b2067-2981-4ad8-bf3a-d2e1004e4fa8" providerId="ADAL" clId="{D81561D3-5E31-4CB8-8B0F-BE1FCFC5AF04}" dt="2024-02-28T07:55:08.514" v="81" actId="27918"/>
      <pc:docMkLst>
        <pc:docMk/>
      </pc:docMkLst>
      <pc:sldChg chg="modSp mod">
        <pc:chgData name="Weigel Stefan (PAR-EPS)" userId="fd3b2067-2981-4ad8-bf3a-d2e1004e4fa8" providerId="ADAL" clId="{D81561D3-5E31-4CB8-8B0F-BE1FCFC5AF04}" dt="2024-02-28T07:55:08.514" v="81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D81561D3-5E31-4CB8-8B0F-BE1FCFC5AF04}" dt="2024-02-28T07:51:20.419" v="71" actId="1035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Weigel Stefan (PAR-EPS)" userId="fd3b2067-2981-4ad8-bf3a-d2e1004e4fa8" providerId="ADAL" clId="{D81561D3-5E31-4CB8-8B0F-BE1FCFC5AF04}" dt="2024-02-28T07:51:53.897" v="75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D81561D3-5E31-4CB8-8B0F-BE1FCFC5AF04}" dt="2024-02-28T07:51:36.280" v="73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D81561D3-5E31-4CB8-8B0F-BE1FCFC5AF04}" dt="2024-02-28T07:51:31.982" v="72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151144B7-34C6-42AF-9DC6-93259298E345}"/>
    <pc:docChg chg="modSld">
      <pc:chgData name="Meyer Raphael (PAR-ES)" userId="79615dfe-ed48-4e74-a40f-4f7b034c1c27" providerId="ADAL" clId="{151144B7-34C6-42AF-9DC6-93259298E345}" dt="2023-02-22T13:16:29.963" v="9" actId="20577"/>
      <pc:docMkLst>
        <pc:docMk/>
      </pc:docMkLst>
      <pc:sldChg chg="modSp mod">
        <pc:chgData name="Meyer Raphael (PAR-ES)" userId="79615dfe-ed48-4e74-a40f-4f7b034c1c27" providerId="ADAL" clId="{151144B7-34C6-42AF-9DC6-93259298E345}" dt="2023-02-22T13:16:29.963" v="9" actId="20577"/>
        <pc:sldMkLst>
          <pc:docMk/>
          <pc:sldMk cId="57003221" sldId="400"/>
        </pc:sldMkLst>
        <pc:spChg chg="mod">
          <ac:chgData name="Meyer Raphael (PAR-ES)" userId="79615dfe-ed48-4e74-a40f-4f7b034c1c27" providerId="ADAL" clId="{151144B7-34C6-42AF-9DC6-93259298E345}" dt="2023-02-22T13:16:29.963" v="9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Weigel Stefan (PAR-EPS)" userId="fd3b2067-2981-4ad8-bf3a-d2e1004e4fa8" providerId="ADAL" clId="{28CF242A-9B03-409C-960B-863AFDF10E17}"/>
    <pc:docChg chg="modSld">
      <pc:chgData name="Weigel Stefan (PAR-EPS)" userId="fd3b2067-2981-4ad8-bf3a-d2e1004e4fa8" providerId="ADAL" clId="{28CF242A-9B03-409C-960B-863AFDF10E17}" dt="2024-02-28T08:03:23.367" v="30" actId="27918"/>
      <pc:docMkLst>
        <pc:docMk/>
      </pc:docMkLst>
      <pc:sldChg chg="modSp mod">
        <pc:chgData name="Weigel Stefan (PAR-EPS)" userId="fd3b2067-2981-4ad8-bf3a-d2e1004e4fa8" providerId="ADAL" clId="{28CF242A-9B03-409C-960B-863AFDF10E17}" dt="2024-02-28T08:03:23.367" v="30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28CF242A-9B03-409C-960B-863AFDF10E17}" dt="2024-02-28T08:03:03.056" v="26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28CF242A-9B03-409C-960B-863AFDF10E17}" dt="2024-02-28T07:57:59.347" v="21"/>
          <ac:graphicFrameMkLst>
            <pc:docMk/>
            <pc:sldMk cId="57003221" sldId="400"/>
            <ac:graphicFrameMk id="8" creationId="{9B23B171-CA74-4173-BBA6-57F61B8D6F91}"/>
          </ac:graphicFrameMkLst>
        </pc:graphicFrame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0% – Produit du trafic</c:v>
                </c:pt>
                <c:pt idx="1">
                  <c:v>6% – Produits résultant de la location d’immeubles</c:v>
                </c:pt>
                <c:pt idx="2">
                  <c:v>14% – Produits accessoires</c:v>
                </c:pt>
                <c:pt idx="3">
                  <c:v>13% – Prestations propres</c:v>
                </c:pt>
                <c:pt idx="4">
                  <c:v>28% – Prestations des pouvoirs publics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577.5478142690199</c:v>
                </c:pt>
                <c:pt idx="1">
                  <c:v>685.68174177096</c:v>
                </c:pt>
                <c:pt idx="2">
                  <c:v>1584.25570858476</c:v>
                </c:pt>
                <c:pt idx="3">
                  <c:v>1429.4126206200001</c:v>
                </c:pt>
                <c:pt idx="4">
                  <c:v>3147.3578548324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72797538284428875"/>
          <c:h val="0.16631943798218349"/>
        </c:manualLayout>
      </c:layout>
      <c:overlay val="0"/>
      <c:txPr>
        <a:bodyPr/>
        <a:lstStyle/>
        <a:p>
          <a:pPr rtl="0">
            <a:defRPr sz="10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2% – Charges de personnel</c:v>
                </c:pt>
                <c:pt idx="1">
                  <c:v>8% – Charges de matières premières et consommables</c:v>
                </c:pt>
                <c:pt idx="2">
                  <c:v>11% – Prestations d’exploitation et d’entretien de tiers</c:v>
                </c:pt>
                <c:pt idx="3">
                  <c:v>16% – Autres dépenses</c:v>
                </c:pt>
                <c:pt idx="4">
                  <c:v>23% – Amortissements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685.2754837963803</c:v>
                </c:pt>
                <c:pt idx="1">
                  <c:v>-899.61867697369496</c:v>
                </c:pt>
                <c:pt idx="2">
                  <c:v>-1179.75748389456</c:v>
                </c:pt>
                <c:pt idx="3">
                  <c:v>-1739.2330630282599</c:v>
                </c:pt>
                <c:pt idx="4">
                  <c:v>-2545.942414120030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1975308641975308E-4"/>
          <c:y val="0.78130886993356086"/>
          <c:w val="0.75263296478234698"/>
          <c:h val="0.16451915593179803"/>
        </c:manualLayout>
      </c:layout>
      <c:overlay val="0"/>
      <c:txPr>
        <a:bodyPr/>
        <a:lstStyle/>
        <a:p>
          <a:pPr rtl="0">
            <a:defRPr sz="10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228412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800669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6" y="493295"/>
            <a:ext cx="10153651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Produits d’exploitation et charges d’exploitation en 2023.</a:t>
            </a:r>
            <a:br>
              <a:rPr lang="fr-FR" dirty="0"/>
            </a:br>
            <a:endParaRPr lang="de-CH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9034933" y="6108867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000" kern="0" dirty="0">
                <a:solidFill>
                  <a:srgbClr val="444444"/>
                </a:solidFill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A4F5BABE-F7A1-4117-ABCF-C59149FA83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</Words>
  <Application>Microsoft Office PowerPoint</Application>
  <PresentationFormat>Breitbild</PresentationFormat>
  <Paragraphs>3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2-28T09:3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